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62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DEF6B2-308B-FA62-91A9-D961465512A5}" v="6" dt="2022-05-19T16:02:55.1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3" d="100"/>
          <a:sy n="63" d="100"/>
        </p:scale>
        <p:origin x="69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l Milton" userId="49431180-0d89-4773-8c45-b99d5e275304" providerId="ADAL" clId="{F311A405-9A08-4ADA-9CB1-AD057CF10DFE}"/>
    <pc:docChg chg="modSld">
      <pc:chgData name="Carl Milton" userId="49431180-0d89-4773-8c45-b99d5e275304" providerId="ADAL" clId="{F311A405-9A08-4ADA-9CB1-AD057CF10DFE}" dt="2022-05-19T15:38:57.128" v="1" actId="1076"/>
      <pc:docMkLst>
        <pc:docMk/>
      </pc:docMkLst>
      <pc:sldChg chg="modSp mod">
        <pc:chgData name="Carl Milton" userId="49431180-0d89-4773-8c45-b99d5e275304" providerId="ADAL" clId="{F311A405-9A08-4ADA-9CB1-AD057CF10DFE}" dt="2022-05-19T15:38:57.128" v="1" actId="1076"/>
        <pc:sldMkLst>
          <pc:docMk/>
          <pc:sldMk cId="1987635787" sldId="6257"/>
        </pc:sldMkLst>
        <pc:picChg chg="mod">
          <ac:chgData name="Carl Milton" userId="49431180-0d89-4773-8c45-b99d5e275304" providerId="ADAL" clId="{F311A405-9A08-4ADA-9CB1-AD057CF10DFE}" dt="2022-05-19T15:38:57.128" v="1" actId="1076"/>
          <ac:picMkLst>
            <pc:docMk/>
            <pc:sldMk cId="1987635787" sldId="6257"/>
            <ac:picMk id="10" creationId="{254ACC5A-E252-4A44-82BF-CAADCF48EC23}"/>
          </ac:picMkLst>
        </pc:picChg>
      </pc:sldChg>
    </pc:docChg>
  </pc:docChgLst>
  <pc:docChgLst>
    <pc:chgData clId="Web-{82DEF6B2-308B-FA62-91A9-D961465512A5}"/>
    <pc:docChg chg="modSld">
      <pc:chgData name="" userId="" providerId="" clId="Web-{82DEF6B2-308B-FA62-91A9-D961465512A5}" dt="2022-05-19T16:02:53.158" v="4" actId="20577"/>
      <pc:docMkLst>
        <pc:docMk/>
      </pc:docMkLst>
      <pc:sldChg chg="modSp">
        <pc:chgData name="" userId="" providerId="" clId="Web-{82DEF6B2-308B-FA62-91A9-D961465512A5}" dt="2022-05-19T16:02:53.158" v="4" actId="20577"/>
        <pc:sldMkLst>
          <pc:docMk/>
          <pc:sldMk cId="1987635787" sldId="6257"/>
        </pc:sldMkLst>
        <pc:spChg chg="mod">
          <ac:chgData name="" userId="" providerId="" clId="Web-{82DEF6B2-308B-FA62-91A9-D961465512A5}" dt="2022-05-19T16:02:53.158" v="4" actId="20577"/>
          <ac:spMkLst>
            <pc:docMk/>
            <pc:sldMk cId="1987635787" sldId="6257"/>
            <ac:spMk id="2" creationId="{7A7842A1-F80C-4126-B6CF-07AFEA3AF6BD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1FD3CB-0948-4C00-9742-0A3B36FAF734}" type="datetimeFigureOut">
              <a:rPr lang="en-GB" smtClean="0"/>
              <a:t>23/05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181D59-0A92-4297-888E-31B6B6C5EC5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0705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5D8DA2-94AA-4144-A569-34B350D020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47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27068" y="3604590"/>
            <a:ext cx="10155298" cy="450573"/>
          </a:xfrm>
          <a:prstGeom prst="rect">
            <a:avLst/>
          </a:prstGeom>
        </p:spPr>
        <p:txBody>
          <a:bodyPr anchor="ctr"/>
          <a:lstStyle>
            <a:lvl1pPr>
              <a:defRPr sz="280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ain Title (Century Gothic 28, dark blue – bold)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-9317" y="6639563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kern="12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kern="12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347792" y="393907"/>
            <a:ext cx="5671930" cy="2205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 (Century Gothic 12, light gray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128" y="4073206"/>
            <a:ext cx="10155238" cy="31326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 b="0" baseline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 (Century Gothic 20, dark blu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7474" y="6317720"/>
            <a:ext cx="1249936" cy="506071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 userDrawn="1"/>
        </p:nvSpPr>
        <p:spPr>
          <a:xfrm>
            <a:off x="-4658" y="3180457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1037094" y="3027963"/>
            <a:ext cx="10393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kern="1200" baseline="0" dirty="0">
                <a:solidFill>
                  <a:schemeClr val="bg1">
                    <a:lumMod val="65000"/>
                  </a:schemeClr>
                </a:solidFill>
                <a:latin typeface="+mj-lt"/>
                <a:ea typeface="Tahoma" charset="0"/>
                <a:cs typeface="Tahoma" charset="0"/>
              </a:rPr>
              <a:t>Heydar Aliyev Center</a:t>
            </a:r>
            <a:endParaRPr lang="en-GB" sz="600" kern="1200" dirty="0">
              <a:solidFill>
                <a:schemeClr val="bg1">
                  <a:lumMod val="6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599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2453" y="192241"/>
            <a:ext cx="11366635" cy="1051851"/>
          </a:xfrm>
        </p:spPr>
        <p:txBody>
          <a:bodyPr>
            <a:no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507687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N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EB7E4E-A4F5-4C7E-BDE2-BDAD272A63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EB7E4E-A4F5-4C7E-BDE2-BDAD272A6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k object 16"/>
          <p:cNvSpPr/>
          <p:nvPr userDrawn="1"/>
        </p:nvSpPr>
        <p:spPr>
          <a:xfrm>
            <a:off x="0" y="6586728"/>
            <a:ext cx="12192000" cy="271780"/>
          </a:xfrm>
          <a:custGeom>
            <a:avLst/>
            <a:gdLst/>
            <a:ahLst/>
            <a:cxnLst/>
            <a:rect l="l" t="t" r="r" b="b"/>
            <a:pathLst>
              <a:path w="12192000" h="271779">
                <a:moveTo>
                  <a:pt x="12192000" y="271268"/>
                </a:moveTo>
                <a:lnTo>
                  <a:pt x="12192000" y="0"/>
                </a:lnTo>
                <a:lnTo>
                  <a:pt x="0" y="0"/>
                </a:lnTo>
                <a:lnTo>
                  <a:pt x="0" y="271268"/>
                </a:lnTo>
                <a:lnTo>
                  <a:pt x="12192000" y="2712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9957" y="6645083"/>
            <a:ext cx="592087" cy="15507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3347" y="224247"/>
            <a:ext cx="11181347" cy="459978"/>
          </a:xfrm>
        </p:spPr>
        <p:txBody>
          <a:bodyPr lIns="0" tIns="0" rIns="0" bIns="0" anchor="ctr"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Title (</a:t>
            </a:r>
            <a:r>
              <a:rPr lang="en-US" dirty="0" err="1"/>
              <a:t>Roboto</a:t>
            </a:r>
            <a:r>
              <a:rPr lang="en-US" dirty="0"/>
              <a:t> 28, Dark blue-bold)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3347" y="703520"/>
            <a:ext cx="11181931" cy="454025"/>
          </a:xfrm>
        </p:spPr>
        <p:txBody>
          <a:bodyPr lIns="0" tIns="0" rIns="0" bIns="0">
            <a:normAutofit/>
          </a:bodyPr>
          <a:lstStyle>
            <a:lvl1pPr>
              <a:defRPr sz="1600" baseline="0">
                <a:solidFill>
                  <a:schemeClr val="accent4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/>
              <a:t>Subtitle (</a:t>
            </a:r>
            <a:r>
              <a:rPr lang="en-US" dirty="0" err="1"/>
              <a:t>Roboto</a:t>
            </a:r>
            <a:r>
              <a:rPr lang="en-US" dirty="0"/>
              <a:t> 16, blue-bold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3575" y="6614506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cs typeface="Arial" panose="020B0604020202020204" pitchFamily="34" charset="0"/>
              </a:rPr>
              <a:t>Copyright @ 2017-2019 CEMEX International</a:t>
            </a:r>
            <a:r>
              <a:rPr lang="en-US" sz="700" baseline="0" dirty="0">
                <a:solidFill>
                  <a:schemeClr val="bg1"/>
                </a:solidFill>
                <a:cs typeface="Arial" panose="020B0604020202020204" pitchFamily="34" charset="0"/>
              </a:rPr>
              <a:t> Holding AG, Switzerland – Confidential Information</a:t>
            </a:r>
            <a:endParaRPr lang="en-GB" sz="7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11752724" y="6652372"/>
            <a:ext cx="26129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GB" sz="900" b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en-GB" sz="9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fld id="{AEC6AA15-C0DB-4B96-AF58-E97D71BADEF0}" type="slidenum">
              <a:rPr lang="en-GB" sz="900" b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/>
              <a:t>‹#›</a:t>
            </a:fld>
            <a:r>
              <a:rPr lang="en-GB" sz="9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-</a:t>
            </a:r>
          </a:p>
        </p:txBody>
      </p:sp>
      <p:pic>
        <p:nvPicPr>
          <p:cNvPr id="13" name="Picture 4" descr="C:\Users\cmalvarado\AppData\Roaming\Skype\titinisha\media_messaging\media_cache_v2\^1387A108C6B7EF009E221855BF6E5A39F34512C0DBC9AE851F^pimgpsh_fullsize_dist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1532" y="51629"/>
            <a:ext cx="1360468" cy="5842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5538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k object 16"/>
          <p:cNvSpPr/>
          <p:nvPr userDrawn="1"/>
        </p:nvSpPr>
        <p:spPr>
          <a:xfrm>
            <a:off x="0" y="6586728"/>
            <a:ext cx="12192000" cy="271780"/>
          </a:xfrm>
          <a:custGeom>
            <a:avLst/>
            <a:gdLst/>
            <a:ahLst/>
            <a:cxnLst/>
            <a:rect l="l" t="t" r="r" b="b"/>
            <a:pathLst>
              <a:path w="12192000" h="271779">
                <a:moveTo>
                  <a:pt x="12192000" y="271268"/>
                </a:moveTo>
                <a:lnTo>
                  <a:pt x="12192000" y="0"/>
                </a:lnTo>
                <a:lnTo>
                  <a:pt x="0" y="0"/>
                </a:lnTo>
                <a:lnTo>
                  <a:pt x="0" y="271268"/>
                </a:lnTo>
                <a:lnTo>
                  <a:pt x="12192000" y="271268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9957" y="6645083"/>
            <a:ext cx="592087" cy="15507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3347" y="224247"/>
            <a:ext cx="11181347" cy="459978"/>
          </a:xfrm>
        </p:spPr>
        <p:txBody>
          <a:bodyPr lIns="0" tIns="0" rIns="0" bIns="0" anchor="ctr">
            <a:normAutofit/>
          </a:bodyPr>
          <a:lstStyle>
            <a:lvl1pPr>
              <a:defRPr sz="2800" b="1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Title (</a:t>
            </a:r>
            <a:r>
              <a:rPr lang="en-US" dirty="0" err="1"/>
              <a:t>Roboto</a:t>
            </a:r>
            <a:r>
              <a:rPr lang="en-US" dirty="0"/>
              <a:t> 28, Dark blue-bold)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13347" y="703520"/>
            <a:ext cx="11181931" cy="454025"/>
          </a:xfrm>
        </p:spPr>
        <p:txBody>
          <a:bodyPr lIns="0" tIns="0" rIns="0" bIns="0">
            <a:normAutofit/>
          </a:bodyPr>
          <a:lstStyle>
            <a:lvl1pPr>
              <a:defRPr sz="1600" baseline="0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/>
              <a:t>Subtitle (</a:t>
            </a:r>
            <a:r>
              <a:rPr lang="en-US" dirty="0" err="1"/>
              <a:t>Roboto</a:t>
            </a:r>
            <a:r>
              <a:rPr lang="en-US" dirty="0"/>
              <a:t> 16, blue-bold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443038"/>
            <a:ext cx="11181930" cy="433387"/>
          </a:xfrm>
        </p:spPr>
        <p:txBody>
          <a:bodyPr>
            <a:normAutofit/>
          </a:bodyPr>
          <a:lstStyle>
            <a:lvl1pPr>
              <a:defRPr sz="1800" b="1" baseline="0">
                <a:solidFill>
                  <a:srgbClr val="00529B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 dirty="0"/>
              <a:t>Text (</a:t>
            </a:r>
            <a:r>
              <a:rPr lang="en-US" dirty="0" err="1"/>
              <a:t>Roboto</a:t>
            </a:r>
            <a:r>
              <a:rPr lang="en-US" dirty="0"/>
              <a:t> 18, Mid blue-bold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12763" y="1876425"/>
            <a:ext cx="11181930" cy="4212458"/>
          </a:xfrm>
        </p:spPr>
        <p:txBody>
          <a:bodyPr/>
          <a:lstStyle>
            <a:lvl1pPr>
              <a:defRPr sz="1600" b="1" baseline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65138" indent="-241300">
              <a:buClr>
                <a:srgbClr val="50A5F0"/>
              </a:buClr>
              <a:buFont typeface="Arial" panose="020B0604020202020204" pitchFamily="34" charset="0"/>
              <a:buChar char="•"/>
              <a:defRPr sz="1600">
                <a:latin typeface="Century Gothic" charset="0"/>
                <a:ea typeface="Century Gothic" charset="0"/>
                <a:cs typeface="Century Gothic" charset="0"/>
              </a:defRPr>
            </a:lvl2pPr>
            <a:lvl3pPr marL="738188" indent="-273050">
              <a:buClr>
                <a:srgbClr val="50A5F0"/>
              </a:buClr>
              <a:buFont typeface="Roboto" panose="02000000000000000000" pitchFamily="2" charset="0"/>
              <a:buChar char="–"/>
              <a:defRPr sz="1400">
                <a:latin typeface="Century Gothic" charset="0"/>
                <a:ea typeface="Century Gothic" charset="0"/>
                <a:cs typeface="Century Gothic" charset="0"/>
              </a:defRPr>
            </a:lvl3pPr>
          </a:lstStyle>
          <a:p>
            <a:pPr lvl="0"/>
            <a:r>
              <a:rPr lang="en-US" dirty="0"/>
              <a:t>Text (</a:t>
            </a:r>
            <a:r>
              <a:rPr lang="en-US" dirty="0" err="1"/>
              <a:t>Roboto</a:t>
            </a:r>
            <a:r>
              <a:rPr lang="en-US" dirty="0"/>
              <a:t> 16, black-bol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3575" y="6614506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cs typeface="Arial" panose="020B0604020202020204" pitchFamily="34" charset="0"/>
              </a:rPr>
              <a:t>Copyright @ 2017-2019 CEMEX International</a:t>
            </a:r>
            <a:r>
              <a:rPr lang="en-US" sz="700" baseline="0" dirty="0">
                <a:solidFill>
                  <a:schemeClr val="bg1"/>
                </a:solidFill>
                <a:cs typeface="Arial" panose="020B0604020202020204" pitchFamily="34" charset="0"/>
              </a:rPr>
              <a:t> Holding AG, Switzerland – Confidential Information</a:t>
            </a:r>
            <a:endParaRPr lang="en-GB" sz="7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11752724" y="6652372"/>
            <a:ext cx="26129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GB" sz="900" b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en-GB" sz="9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fld id="{AEC6AA15-C0DB-4B96-AF58-E97D71BADEF0}" type="slidenum">
              <a:rPr lang="en-GB" sz="900" b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/>
              <a:t>‹#›</a:t>
            </a:fld>
            <a:r>
              <a:rPr lang="en-GB" sz="9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-</a:t>
            </a:r>
          </a:p>
        </p:txBody>
      </p:sp>
      <p:pic>
        <p:nvPicPr>
          <p:cNvPr id="14" name="Picture 4" descr="C:\Users\cmalvarado\AppData\Roaming\Skype\titinisha\media_messaging\media_cache_v2\^1387A108C6B7EF009E221855BF6E5A39F34512C0DBC9AE851F^pimgpsh_fullsize_distr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31532" y="51629"/>
            <a:ext cx="1360468" cy="5842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8052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 rot="10800000">
            <a:off x="0" y="0"/>
            <a:ext cx="12192000" cy="87754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521100" y="204713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800" b="1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83575" y="6614506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pyright © 2017-2019 CEMEX International Holding AG, Switzerland - Confidential Information</a:t>
            </a:r>
            <a:endParaRPr lang="en-GB" sz="7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7474" y="6317663"/>
            <a:ext cx="1249936" cy="506186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9" name="Rectangle 8"/>
          <p:cNvSpPr/>
          <p:nvPr userDrawn="1"/>
        </p:nvSpPr>
        <p:spPr>
          <a:xfrm>
            <a:off x="-9317" y="6640002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kern="12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kern="12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98488" y="1380063"/>
            <a:ext cx="10944225" cy="3379787"/>
          </a:xfrm>
        </p:spPr>
        <p:txBody>
          <a:bodyPr/>
          <a:lstStyle>
            <a:lvl1pPr>
              <a:defRPr sz="1600" b="1" baseline="0">
                <a:solidFill>
                  <a:schemeClr val="bg1"/>
                </a:solidFill>
                <a:latin typeface="+mj-lt"/>
              </a:defRPr>
            </a:lvl1pPr>
            <a:lvl2pPr marL="400050" indent="-285750">
              <a:buFont typeface="Arial" panose="020B0604020202020204" pitchFamily="34" charset="0"/>
              <a:buChar char="•"/>
              <a:defRPr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Topic 01 (Century Gothic 16, black – bold)</a:t>
            </a:r>
            <a:endParaRPr lang="en-US" dirty="0"/>
          </a:p>
          <a:p>
            <a:pPr lvl="1"/>
            <a:r>
              <a:rPr lang="en-US" dirty="0"/>
              <a:t>Subtopic 01 (Century Gothic 14, black)</a:t>
            </a:r>
          </a:p>
          <a:p>
            <a:pPr lvl="1"/>
            <a:r>
              <a:rPr lang="en-US" dirty="0"/>
              <a:t>Subtopic 02 (Century Gothic 14, black)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9317" y="875614"/>
            <a:ext cx="12201317" cy="84195"/>
          </a:xfrm>
          <a:prstGeom prst="rect">
            <a:avLst/>
          </a:prstGeom>
          <a:gradFill flip="none" rotWithShape="1">
            <a:gsLst>
              <a:gs pos="100000">
                <a:srgbClr val="1B4561"/>
              </a:gs>
              <a:gs pos="0">
                <a:srgbClr val="377CA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68724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6968" y="6445282"/>
            <a:ext cx="906624" cy="237449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9317" y="6640002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9360" y="2645104"/>
            <a:ext cx="11160125" cy="502921"/>
          </a:xfrm>
        </p:spPr>
        <p:txBody>
          <a:bodyPr anchor="ctr">
            <a:normAutofit/>
          </a:bodyPr>
          <a:lstStyle>
            <a:lvl1pPr>
              <a:defRPr sz="2800" b="1" baseline="0">
                <a:latin typeface="+mj-lt"/>
              </a:defRPr>
            </a:lvl1pPr>
          </a:lstStyle>
          <a:p>
            <a:pPr lvl="0"/>
            <a:r>
              <a:rPr lang="en-US" dirty="0"/>
              <a:t>Title (Century Gothic 28, white – bold)</a:t>
            </a:r>
            <a:endParaRPr lang="es-MX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360" y="3164975"/>
            <a:ext cx="11160125" cy="502921"/>
          </a:xfrm>
        </p:spPr>
        <p:txBody>
          <a:bodyPr anchor="ctr">
            <a:normAutofit/>
          </a:bodyPr>
          <a:lstStyle>
            <a:lvl1pPr>
              <a:defRPr sz="2000" b="0" baseline="0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(Century Gothic 20, light blue)</a:t>
            </a:r>
            <a:endParaRPr lang="es-MX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467061" y="379222"/>
            <a:ext cx="5232424" cy="502921"/>
          </a:xfrm>
        </p:spPr>
        <p:txBody>
          <a:bodyPr anchor="ctr">
            <a:normAutofit/>
          </a:bodyPr>
          <a:lstStyle>
            <a:lvl1pPr algn="r">
              <a:defRPr sz="1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Main Title (Century Gothic 14, white)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35348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030302-0428-4D9E-99CB-2349A456BE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030302-0428-4D9E-99CB-2349A456B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07402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/>
        <p:txBody>
          <a:bodyPr/>
          <a:lstStyle>
            <a:lvl1pPr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4137813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0525" y="1435608"/>
            <a:ext cx="5477435" cy="45811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271653" y="1433355"/>
            <a:ext cx="5477435" cy="45811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</p:spTree>
    <p:extLst>
      <p:ext uri="{BB962C8B-B14F-4D97-AF65-F5344CB8AC3E}">
        <p14:creationId xmlns:p14="http://schemas.microsoft.com/office/powerpoint/2010/main" val="278825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208405"/>
            <a:ext cx="11358563" cy="1033946"/>
          </a:xfrm>
        </p:spPr>
        <p:txBody>
          <a:bodyPr>
            <a:normAutofit/>
          </a:bodyPr>
          <a:lstStyle>
            <a:lvl1pPr>
              <a:defRPr sz="2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Title (Century Gothic 24, dark blue – bold)</a:t>
            </a:r>
            <a:endParaRPr lang="es-MX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0525" y="1791679"/>
            <a:ext cx="5477435" cy="4381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71653" y="1791679"/>
            <a:ext cx="5477435" cy="4381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r>
              <a:rPr lang="en-US" kern="0" dirty="0"/>
              <a:t>Main Text (</a:t>
            </a:r>
            <a:r>
              <a:rPr lang="en-US" dirty="0"/>
              <a:t>Century Gothic</a:t>
            </a:r>
            <a:r>
              <a:rPr lang="en-US" kern="0" dirty="0"/>
              <a:t> 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90525" y="1289996"/>
            <a:ext cx="5476875" cy="47942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5pPr marL="795338" indent="0">
              <a:buNone/>
              <a:defRPr/>
            </a:lvl5pPr>
          </a:lstStyle>
          <a:p>
            <a:pPr lvl="0"/>
            <a:r>
              <a:rPr lang="es-MX" dirty="0" err="1"/>
              <a:t>Title</a:t>
            </a:r>
            <a:r>
              <a:rPr lang="es-MX" dirty="0"/>
              <a:t> (</a:t>
            </a:r>
            <a:r>
              <a:rPr lang="en-US" dirty="0"/>
              <a:t>Century Gothic</a:t>
            </a:r>
            <a:r>
              <a:rPr lang="es-MX" dirty="0"/>
              <a:t> 16, </a:t>
            </a:r>
            <a:r>
              <a:rPr lang="es-MX" dirty="0" err="1"/>
              <a:t>medium</a:t>
            </a:r>
            <a:r>
              <a:rPr lang="es-MX" dirty="0"/>
              <a:t> gray, </a:t>
            </a:r>
            <a:r>
              <a:rPr lang="es-MX" dirty="0" err="1"/>
              <a:t>bold</a:t>
            </a:r>
            <a:r>
              <a:rPr lang="es-MX" dirty="0"/>
              <a:t>)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71093" y="1289996"/>
            <a:ext cx="5476875" cy="479425"/>
          </a:xfrm>
        </p:spPr>
        <p:txBody>
          <a:bodyPr anchor="ctr">
            <a:normAutofit/>
          </a:bodyPr>
          <a:lstStyle>
            <a:lvl1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5pPr marL="795338" indent="0">
              <a:buNone/>
              <a:defRPr/>
            </a:lvl5pPr>
          </a:lstStyle>
          <a:p>
            <a:pPr lvl="0"/>
            <a:r>
              <a:rPr lang="es-MX" dirty="0" err="1"/>
              <a:t>Title</a:t>
            </a:r>
            <a:r>
              <a:rPr lang="es-MX" dirty="0"/>
              <a:t> (</a:t>
            </a:r>
            <a:r>
              <a:rPr lang="en-US" dirty="0"/>
              <a:t>Century Gothic</a:t>
            </a:r>
            <a:r>
              <a:rPr lang="es-MX" dirty="0"/>
              <a:t> 16, </a:t>
            </a:r>
            <a:r>
              <a:rPr lang="es-MX" dirty="0" err="1"/>
              <a:t>medium</a:t>
            </a:r>
            <a:r>
              <a:rPr lang="es-MX" dirty="0"/>
              <a:t> gray, </a:t>
            </a:r>
            <a:r>
              <a:rPr lang="es-MX" dirty="0" err="1"/>
              <a:t>bold</a:t>
            </a:r>
            <a:r>
              <a:rPr lang="es-MX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54424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6968" y="6445282"/>
            <a:ext cx="906624" cy="23744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9317" y="6640002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>
                <a:solidFill>
                  <a:srgbClr val="8A95AC"/>
                </a:solidFill>
                <a:latin typeface="+mn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dirty="0">
              <a:solidFill>
                <a:srgbClr val="8A95AC"/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39360" y="2739886"/>
            <a:ext cx="11160125" cy="742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MX" sz="28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522306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up Slide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4000">
                <a:srgbClr val="303E5A"/>
              </a:gs>
              <a:gs pos="67000">
                <a:srgbClr val="44546A">
                  <a:lumMod val="50000"/>
                </a:srgbClr>
              </a:gs>
              <a:gs pos="19000">
                <a:srgbClr val="42506C"/>
              </a:gs>
              <a:gs pos="0">
                <a:srgbClr val="4E5C79">
                  <a:alpha val="96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6968" y="6445282"/>
            <a:ext cx="906624" cy="23744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9317" y="6640002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>
                <a:solidFill>
                  <a:srgbClr val="8A95AC"/>
                </a:solidFill>
                <a:latin typeface="+mn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dirty="0">
              <a:solidFill>
                <a:srgbClr val="8A95AC"/>
              </a:solidFill>
              <a:latin typeface="+mn-lt"/>
              <a:ea typeface="Tahoma" charset="0"/>
              <a:cs typeface="Tahoma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539360" y="2739886"/>
            <a:ext cx="11160125" cy="742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MX" sz="2800" b="1" dirty="0" err="1"/>
              <a:t>Backup</a:t>
            </a:r>
            <a:r>
              <a:rPr lang="es-MX" sz="2800" b="1" dirty="0"/>
              <a:t> </a:t>
            </a:r>
            <a:r>
              <a:rPr lang="es-MX" sz="2800" b="1" dirty="0" err="1"/>
              <a:t>Slides</a:t>
            </a:r>
            <a:endParaRPr lang="es-MX" sz="2800" b="1" dirty="0"/>
          </a:p>
        </p:txBody>
      </p:sp>
    </p:spTree>
    <p:extLst>
      <p:ext uri="{BB962C8B-B14F-4D97-AF65-F5344CB8AC3E}">
        <p14:creationId xmlns:p14="http://schemas.microsoft.com/office/powerpoint/2010/main" val="2107473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89965" y="208800"/>
            <a:ext cx="11358753" cy="103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 (Century Gothic 24, dark blue </a:t>
            </a:r>
            <a:r>
              <a:rPr lang="mr-IN" dirty="0"/>
              <a:t>–</a:t>
            </a:r>
            <a:r>
              <a:rPr lang="en-US" dirty="0"/>
              <a:t> bold)</a:t>
            </a: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89965" y="1435608"/>
            <a:ext cx="11358753" cy="4581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 kern="0" dirty="0"/>
              <a:t>Main Text (</a:t>
            </a:r>
            <a:r>
              <a:rPr lang="en-US" dirty="0"/>
              <a:t>Century Gothic </a:t>
            </a:r>
            <a:r>
              <a:rPr lang="en-US" kern="0" dirty="0"/>
              <a:t>14, black)</a:t>
            </a:r>
          </a:p>
          <a:p>
            <a:pPr lvl="1"/>
            <a:r>
              <a:rPr lang="en-US" kern="0" dirty="0"/>
              <a:t>Level 1 Bullet (</a:t>
            </a:r>
            <a:r>
              <a:rPr lang="en-US" dirty="0"/>
              <a:t>Century Gothic</a:t>
            </a:r>
            <a:r>
              <a:rPr lang="en-US" kern="0" dirty="0"/>
              <a:t> 14, black – mid blue bullet)</a:t>
            </a:r>
          </a:p>
          <a:p>
            <a:pPr lvl="2"/>
            <a:r>
              <a:rPr lang="en-US" kern="0" dirty="0"/>
              <a:t>Level 2 Bullet (</a:t>
            </a:r>
            <a:r>
              <a:rPr lang="en-US" dirty="0"/>
              <a:t>Century Gothic</a:t>
            </a:r>
            <a:r>
              <a:rPr lang="en-US" kern="0" dirty="0"/>
              <a:t> 14, black – mid blue double arrow)</a:t>
            </a:r>
          </a:p>
          <a:p>
            <a:pPr lvl="3"/>
            <a:r>
              <a:rPr lang="en-US" kern="0" dirty="0"/>
              <a:t>Level 3 Bullet (</a:t>
            </a:r>
            <a:r>
              <a:rPr lang="en-US" dirty="0"/>
              <a:t>Century Gothic</a:t>
            </a:r>
            <a:r>
              <a:rPr lang="en-US" kern="0" dirty="0"/>
              <a:t> 12, black – mid blue circle bullet)</a:t>
            </a:r>
          </a:p>
          <a:p>
            <a:pPr lvl="2"/>
            <a:endParaRPr lang="en-US" kern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06294"/>
            <a:ext cx="12192000" cy="254975"/>
          </a:xfrm>
          <a:prstGeom prst="rect">
            <a:avLst/>
          </a:prstGeom>
          <a:gradFill>
            <a:gsLst>
              <a:gs pos="0">
                <a:srgbClr val="202C44"/>
              </a:gs>
              <a:gs pos="100000">
                <a:srgbClr val="4E5C79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9317" y="6640002"/>
            <a:ext cx="6096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600" dirty="0">
                <a:solidFill>
                  <a:srgbClr val="8A95AC"/>
                </a:solidFill>
                <a:latin typeface="+mj-lt"/>
                <a:ea typeface="Tahoma" charset="0"/>
                <a:cs typeface="Tahoma" charset="0"/>
              </a:rPr>
              <a:t>Copyright © 2017-2019 CEMEX International Holding AG, Switzerland - Confidential Information</a:t>
            </a:r>
            <a:endParaRPr lang="en-GB" sz="600" dirty="0">
              <a:solidFill>
                <a:srgbClr val="8A95AC"/>
              </a:solidFill>
              <a:latin typeface="+mj-lt"/>
              <a:ea typeface="Tahoma" charset="0"/>
              <a:cs typeface="Tahoma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461" y="6654800"/>
            <a:ext cx="592087" cy="155070"/>
          </a:xfrm>
          <a:prstGeom prst="rect">
            <a:avLst/>
          </a:prstGeom>
        </p:spPr>
      </p:pic>
      <p:sp>
        <p:nvSpPr>
          <p:cNvPr id="15" name="Parallelogram 14"/>
          <p:cNvSpPr/>
          <p:nvPr userDrawn="1"/>
        </p:nvSpPr>
        <p:spPr>
          <a:xfrm rot="10800000">
            <a:off x="11810009" y="6606286"/>
            <a:ext cx="381989" cy="254979"/>
          </a:xfrm>
          <a:prstGeom prst="parallelogram">
            <a:avLst>
              <a:gd name="adj" fmla="val 43629"/>
            </a:avLst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11979143" y="6606284"/>
            <a:ext cx="212850" cy="254980"/>
          </a:xfrm>
          <a:prstGeom prst="rect">
            <a:avLst/>
          </a:prstGeom>
          <a:solidFill>
            <a:srgbClr val="202C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 userDrawn="1"/>
        </p:nvSpPr>
        <p:spPr bwMode="auto">
          <a:xfrm>
            <a:off x="11968344" y="6668606"/>
            <a:ext cx="134652" cy="131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fld id="{AEC6AA15-C0DB-4B96-AF58-E97D71BADEF0}" type="slidenum">
              <a:rPr lang="en-GB" sz="857" b="0" smtClean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pPr algn="ctr"/>
              <a:t>‹#›</a:t>
            </a:fld>
            <a:endParaRPr lang="en-GB" sz="857" b="0" dirty="0">
              <a:solidFill>
                <a:srgbClr val="FFFFFF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013244" y="6613137"/>
            <a:ext cx="181933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bg1">
                    <a:lumMod val="75000"/>
                  </a:schemeClr>
                </a:solidFill>
                <a:latin typeface="+mj-lt"/>
                <a:ea typeface="Tahoma" charset="0"/>
                <a:cs typeface="Tahoma" charset="0"/>
              </a:rPr>
              <a:t>Process &amp; IT</a:t>
            </a:r>
            <a:endParaRPr lang="en-GB" sz="900" dirty="0">
              <a:solidFill>
                <a:schemeClr val="bg1">
                  <a:lumMod val="75000"/>
                </a:schemeClr>
              </a:solidFill>
              <a:latin typeface="+mj-lt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4962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1" baseline="0">
          <a:solidFill>
            <a:schemeClr val="tx2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eaLnBrk="1" hangingPunct="1">
        <a:spcAft>
          <a:spcPts val="600"/>
        </a:spcAft>
        <a:buClr>
          <a:schemeClr val="accent1"/>
        </a:buClr>
        <a:buSzPct val="130000"/>
        <a:buFont typeface="Arial" panose="020B0604020202020204" pitchFamily="34" charset="0"/>
        <a:buNone/>
        <a:defRPr sz="1400" b="1" baseline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400050" indent="-285750" eaLnBrk="1" hangingPunct="1">
        <a:spcAft>
          <a:spcPts val="600"/>
        </a:spcAft>
        <a:buClr>
          <a:schemeClr val="bg2"/>
        </a:buClr>
        <a:buSzPct val="130000"/>
        <a:buFont typeface="Arial" panose="020B0604020202020204" pitchFamily="34" charset="0"/>
        <a:buChar char="•"/>
        <a:defRPr lang="en-US" sz="1400" baseline="0" noProof="0" dirty="0" smtClean="0">
          <a:solidFill>
            <a:schemeClr val="tx1"/>
          </a:solidFill>
          <a:latin typeface="+mj-lt"/>
          <a:ea typeface="+mn-ea"/>
          <a:cs typeface="+mn-cs"/>
        </a:defRPr>
      </a:lvl2pPr>
      <a:lvl3pPr marL="622300" marR="0" indent="-266700" defTabSz="914400" eaLnBrk="1" fontAlgn="auto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bg2"/>
        </a:buClr>
        <a:buSzPct val="100000"/>
        <a:buFont typeface="Tahoma" panose="020B0604030504040204" pitchFamily="34" charset="0"/>
        <a:buChar char="»"/>
        <a:tabLst/>
        <a:defRPr lang="en-US" sz="1400" baseline="0" noProof="0" dirty="0" smtClean="0">
          <a:solidFill>
            <a:schemeClr val="tx1"/>
          </a:solidFill>
          <a:latin typeface="+mj-lt"/>
          <a:ea typeface="+mn-ea"/>
          <a:cs typeface="+mn-cs"/>
        </a:defRPr>
      </a:lvl3pPr>
      <a:lvl4pPr marL="901700" indent="-279400" eaLnBrk="1" hangingPunct="1">
        <a:spcBef>
          <a:spcPts val="300"/>
        </a:spcBef>
        <a:buClr>
          <a:schemeClr val="bg2"/>
        </a:buClr>
        <a:buFont typeface="Courier New" panose="02070309020205020404" pitchFamily="49" charset="0"/>
        <a:buChar char="o"/>
        <a:tabLst>
          <a:tab pos="3313113" algn="l"/>
        </a:tabLst>
        <a:defRPr lang="en-US" sz="1200" baseline="0" noProof="0" dirty="0" smtClean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4pPr>
      <a:lvl5pPr marL="1081088" indent="-285750" eaLnBrk="1" hangingPunct="1">
        <a:buFont typeface="Wingdings" panose="05000000000000000000" pitchFamily="2" charset="2"/>
        <a:buChar char="§"/>
        <a:defRPr lang="en-US" sz="1200" baseline="0" noProof="0" dirty="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iekt 10" hidden="1">
            <a:extLst>
              <a:ext uri="{FF2B5EF4-FFF2-40B4-BE49-F238E27FC236}">
                <a16:creationId xmlns:a16="http://schemas.microsoft.com/office/drawing/2014/main" id="{235512D8-84F9-4D26-87A4-4FA075A957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1" name="Obiekt 10" hidden="1">
                        <a:extLst>
                          <a:ext uri="{FF2B5EF4-FFF2-40B4-BE49-F238E27FC236}">
                            <a16:creationId xmlns:a16="http://schemas.microsoft.com/office/drawing/2014/main" id="{235512D8-84F9-4D26-87A4-4FA075A95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CC2CA1E0-525E-42D6-B188-56F2F23A3E37}"/>
              </a:ext>
            </a:extLst>
          </p:cNvPr>
          <p:cNvSpPr/>
          <p:nvPr/>
        </p:nvSpPr>
        <p:spPr>
          <a:xfrm>
            <a:off x="2486610" y="4362948"/>
            <a:ext cx="10357191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7842A1-F80C-4126-B6CF-07AFEA3AF6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477" y="0"/>
            <a:ext cx="11358563" cy="425080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GB" dirty="0">
                <a:ea typeface="Tahoma"/>
                <a:cs typeface="Tahoma"/>
              </a:rPr>
              <a:t>MPA Awards – Auto lids for bulk cement loading</a:t>
            </a:r>
            <a:endParaRPr lang="en-GB" dirty="0"/>
          </a:p>
        </p:txBody>
      </p:sp>
      <p:pic>
        <p:nvPicPr>
          <p:cNvPr id="10" name="Picture 9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254ACC5A-E252-4A44-82BF-CAADCF48EC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482" y="425080"/>
            <a:ext cx="4157152" cy="2917560"/>
          </a:xfrm>
          <a:prstGeom prst="rect">
            <a:avLst/>
          </a:prstGeom>
        </p:spPr>
      </p:pic>
      <p:pic>
        <p:nvPicPr>
          <p:cNvPr id="19" name="Picture 18" descr="A picture containing weapon, gun, stove&#10;&#10;Description automatically generated">
            <a:extLst>
              <a:ext uri="{FF2B5EF4-FFF2-40B4-BE49-F238E27FC236}">
                <a16:creationId xmlns:a16="http://schemas.microsoft.com/office/drawing/2014/main" id="{F3F72463-FCB4-41E3-93E9-615D2AFBC8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446" y="391320"/>
            <a:ext cx="3889519" cy="29175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D72957-5136-371A-F963-2C26501F26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89111" y="3512501"/>
            <a:ext cx="3719924" cy="279439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52821C-6B23-4771-A3AC-AD426AF72F4C}"/>
              </a:ext>
            </a:extLst>
          </p:cNvPr>
          <p:cNvSpPr txBox="1"/>
          <p:nvPr/>
        </p:nvSpPr>
        <p:spPr bwMode="auto">
          <a:xfrm>
            <a:off x="9006365" y="6348841"/>
            <a:ext cx="228541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kern="0" dirty="0"/>
              <a:t>Ground based control panel</a:t>
            </a:r>
          </a:p>
        </p:txBody>
      </p:sp>
      <p:pic>
        <p:nvPicPr>
          <p:cNvPr id="6" name="Picture 5" descr="Qr code&#10;&#10;Description automatically generated">
            <a:extLst>
              <a:ext uri="{FF2B5EF4-FFF2-40B4-BE49-F238E27FC236}">
                <a16:creationId xmlns:a16="http://schemas.microsoft.com/office/drawing/2014/main" id="{0A444159-837D-4297-BFDC-E88359BA54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966" y="730458"/>
            <a:ext cx="3719924" cy="482226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92533FD-133A-4537-944A-8C4BD69782DC}"/>
              </a:ext>
            </a:extLst>
          </p:cNvPr>
          <p:cNvSpPr txBox="1"/>
          <p:nvPr/>
        </p:nvSpPr>
        <p:spPr bwMode="auto">
          <a:xfrm>
            <a:off x="654845" y="5790257"/>
            <a:ext cx="19936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kern="0" dirty="0"/>
              <a:t>PLEASE SCAN FOR VIDEO</a:t>
            </a:r>
          </a:p>
        </p:txBody>
      </p:sp>
    </p:spTree>
    <p:extLst>
      <p:ext uri="{BB962C8B-B14F-4D97-AF65-F5344CB8AC3E}">
        <p14:creationId xmlns:p14="http://schemas.microsoft.com/office/powerpoint/2010/main" val="1987635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Office Theme">
  <a:themeElements>
    <a:clrScheme name="CEMEX">
      <a:dk1>
        <a:srgbClr val="000000"/>
      </a:dk1>
      <a:lt1>
        <a:srgbClr val="FFFFFF"/>
      </a:lt1>
      <a:dk2>
        <a:srgbClr val="1E396E"/>
      </a:dk2>
      <a:lt2>
        <a:srgbClr val="345FB8"/>
      </a:lt2>
      <a:accent1>
        <a:srgbClr val="41276B"/>
      </a:accent1>
      <a:accent2>
        <a:srgbClr val="BE213D"/>
      </a:accent2>
      <a:accent3>
        <a:srgbClr val="169F84"/>
      </a:accent3>
      <a:accent4>
        <a:srgbClr val="A8D176"/>
      </a:accent4>
      <a:accent5>
        <a:srgbClr val="FD9F45"/>
      </a:accent5>
      <a:accent6>
        <a:srgbClr val="FFD34C"/>
      </a:accent6>
      <a:hlink>
        <a:srgbClr val="3361B7"/>
      </a:hlink>
      <a:folHlink>
        <a:srgbClr val="203C72"/>
      </a:folHlink>
    </a:clrScheme>
    <a:fontScheme name="Custom 2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</a:spPr>
      <a:bodyPr rot="0" spcFirstLastPara="0" vertOverflow="overflow" horzOverflow="overflow" vert="horz" wrap="square" lIns="72000" tIns="45720" rIns="7200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ffectLst/>
        <a:extLst>
          <a:ext uri="{909E8E84-426E-40dd-AFC4-6F175D3DCCD1}">
            <a14:hiddenFill xmlns:r="http://schemas.openxmlformats.org/officeDocument/2006/relationships" xmlns:p="http://schemas.openxmlformats.org/presentationml/2006/main"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r="http://schemas.openxmlformats.org/officeDocument/2006/relationships" xmlns:p="http://schemas.openxmlformats.org/presentationml/2006/main"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r="http://schemas.openxmlformats.org/officeDocument/2006/relationships" xmlns:p="http://schemas.openxmlformats.org/presentationml/2006/main"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45720" rIns="72000" bIns="45720" numCol="1" rtlCol="0" anchor="t" anchorCtr="0" compatLnSpc="1">
        <a:prstTxWarp prst="textNoShape">
          <a:avLst/>
        </a:prstTxWarp>
        <a:spAutoFit/>
      </a:bodyPr>
      <a:lstStyle>
        <a:defPPr>
          <a:defRPr sz="12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27CAB5A1-55DA-4508-9CB9-7A6E2033ABCF}" vid="{1D1D1DE7-51FA-46ED-8D09-D7F8F2BE31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E2A3D61CA1404F9D3334C6C8133B83" ma:contentTypeVersion="8" ma:contentTypeDescription="Create a new document." ma:contentTypeScope="" ma:versionID="3c30021f1449e6309b4b9f3c5a15c44f">
  <xsd:schema xmlns:xsd="http://www.w3.org/2001/XMLSchema" xmlns:xs="http://www.w3.org/2001/XMLSchema" xmlns:p="http://schemas.microsoft.com/office/2006/metadata/properties" xmlns:ns2="0f171cd5-3d51-4996-a710-89ed356efcbb" targetNamespace="http://schemas.microsoft.com/office/2006/metadata/properties" ma:root="true" ma:fieldsID="9fe6c07ed2931dd406a1ed19388726c6" ns2:_="">
    <xsd:import namespace="0f171cd5-3d51-4996-a710-89ed356efc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71cd5-3d51-4996-a710-89ed356efc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E332F4-8E32-4CA6-9C4A-6A99A14B8E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FAF8E3-E6F1-4D9D-9A30-A52ACB162D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171cd5-3d51-4996-a710-89ed356efc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63FB4C-D569-4DA0-80CB-1816458C6C1A}">
  <ds:schemaRefs>
    <ds:schemaRef ds:uri="ff9d7056-657b-4764-b676-5f46aa7c09d3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986c484-4173-4e66-b35d-0646bb88bf2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8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entury Gothic</vt:lpstr>
      <vt:lpstr>Courier New</vt:lpstr>
      <vt:lpstr>Roboto</vt:lpstr>
      <vt:lpstr>Tahoma</vt:lpstr>
      <vt:lpstr>Verdana</vt:lpstr>
      <vt:lpstr>Wingdings</vt:lpstr>
      <vt:lpstr>1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Alec Hart</dc:creator>
  <cp:lastModifiedBy>Julie Welch</cp:lastModifiedBy>
  <cp:revision>8</cp:revision>
  <dcterms:created xsi:type="dcterms:W3CDTF">2021-02-15T13:39:30Z</dcterms:created>
  <dcterms:modified xsi:type="dcterms:W3CDTF">2022-05-23T12:2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E2A3D61CA1404F9D3334C6C8133B83</vt:lpwstr>
  </property>
</Properties>
</file>